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85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4" clrIdx="0"/>
  <p:cmAuthor id="2" name="Jeremy N Gooden" initials="JNG" lastIdx="1" clrIdx="1"/>
  <p:cmAuthor id="3" name="Microsoft Office User" initials="Office [5]" lastIdx="1" clrIdx="2"/>
  <p:cmAuthor id="4" name="Microsoft Office User" initials="Office [3]" lastIdx="1" clrIdx="3"/>
  <p:cmAuthor id="5" name="Microsoft Office User" initials="Office [4]" lastIdx="1" clrIdx="4"/>
  <p:cmAuthor id="6" name="Microsoft Office User" initials="Office" lastIdx="1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8CF76"/>
    <a:srgbClr val="6D6E71"/>
    <a:srgbClr val="DCDD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348" autoAdjust="0"/>
    <p:restoredTop sz="93875" autoAdjust="0"/>
  </p:normalViewPr>
  <p:slideViewPr>
    <p:cSldViewPr snapToGrid="0" snapToObjects="1">
      <p:cViewPr varScale="1">
        <p:scale>
          <a:sx n="106" d="100"/>
          <a:sy n="106" d="100"/>
        </p:scale>
        <p:origin x="1002" y="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66" d="100"/>
          <a:sy n="66" d="100"/>
        </p:scale>
        <p:origin x="313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BA0B1-8B5E-6C42-BD6E-E01ECCB0DC63}" type="datetimeFigureOut">
              <a:rPr lang="en-US" smtClean="0"/>
              <a:t>2/24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4F169B-D4BC-2D47-B1AD-909F43E50BA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9476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666F0F-F449-CC4B-B881-E7F614156AC6}" type="datetimeFigureOut">
              <a:rPr lang="en-US" smtClean="0"/>
              <a:t>2/24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F9BAFD-0AFE-FC47-B839-C833EEBF7EC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5590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5957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9706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31699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65103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2575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88493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69904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62877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5823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4397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0430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37417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42002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29245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06723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08921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6475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6938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16720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33748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11270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40429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62878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68125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59221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80930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94477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306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3111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Relationship Id="rId30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goc_fip_2c_f.png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84" y="6396331"/>
            <a:ext cx="2294641" cy="21712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205918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73" imgH="473" progId="TCLayout.ActiveDocument.1">
                  <p:embed/>
                </p:oleObj>
              </mc:Choice>
              <mc:Fallback>
                <p:oleObj name="think-cell Slide" r:id="rId27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29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 descr="GCworkplace-FullColour-FR-grey.png"/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1426" y="193640"/>
            <a:ext cx="1598612" cy="296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776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73" r:id="rId3"/>
    <p:sldLayoutId id="2147483674" r:id="rId4"/>
    <p:sldLayoutId id="2147483672" r:id="rId5"/>
    <p:sldLayoutId id="2147483652" r:id="rId6"/>
    <p:sldLayoutId id="2147483653" r:id="rId7"/>
    <p:sldLayoutId id="2147483660" r:id="rId8"/>
    <p:sldLayoutId id="2147483661" r:id="rId9"/>
    <p:sldLayoutId id="2147483662" r:id="rId10"/>
    <p:sldLayoutId id="2147483665" r:id="rId11"/>
    <p:sldLayoutId id="2147483666" r:id="rId12"/>
    <p:sldLayoutId id="2147483667" r:id="rId13"/>
    <p:sldLayoutId id="2147483654" r:id="rId14"/>
    <p:sldLayoutId id="2147483655" r:id="rId15"/>
    <p:sldLayoutId id="2147483656" r:id="rId16"/>
    <p:sldLayoutId id="2147483663" r:id="rId17"/>
    <p:sldLayoutId id="2147483664" r:id="rId18"/>
    <p:sldLayoutId id="2147483668" r:id="rId19"/>
    <p:sldLayoutId id="2147483669" r:id="rId20"/>
    <p:sldLayoutId id="2147483670" r:id="rId21"/>
    <p:sldLayoutId id="2147483657" r:id="rId22"/>
    <p:sldLayoutId id="2147483671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notesSlide" Target="../notesSlides/notesSlide1.xml"/><Relationship Id="rId7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1.png"/><Relationship Id="rId4" Type="http://schemas.openxmlformats.org/officeDocument/2006/relationships/image" Target="../media/image5.jpeg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3" y="0"/>
            <a:ext cx="12189212" cy="686784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3" y="-15498"/>
            <a:ext cx="5852163" cy="6867848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5000"/>
                </a:schemeClr>
              </a:gs>
              <a:gs pos="24000">
                <a:schemeClr val="tx1">
                  <a:alpha val="59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4512" y="2772009"/>
            <a:ext cx="4989021" cy="1587701"/>
          </a:xfrm>
        </p:spPr>
        <p:txBody>
          <a:bodyPr>
            <a:normAutofit fontScale="90000"/>
          </a:bodyPr>
          <a:lstStyle/>
          <a:p>
            <a:r>
              <a:rPr lang="fr-CA" altLang="en-US" dirty="0">
                <a:solidFill>
                  <a:schemeClr val="bg1"/>
                </a:solidFill>
                <a:latin typeface="Arial Rounded MT Bold" panose="020F0704030504030204" pitchFamily="34" charset="0"/>
              </a:rPr>
              <a:t>Séance de Q&amp;R de préouverture – À VENIR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44513" y="4981549"/>
            <a:ext cx="3494087" cy="526957"/>
          </a:xfrm>
        </p:spPr>
        <p:txBody>
          <a:bodyPr/>
          <a:lstStyle/>
          <a:p>
            <a:br>
              <a:rPr lang="en-US" dirty="0">
                <a:solidFill>
                  <a:schemeClr val="bg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en-US" dirty="0">
                <a:solidFill>
                  <a:schemeClr val="bg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Date : FÉVRIER 2023</a:t>
            </a:r>
          </a:p>
          <a:p>
            <a:endParaRPr lang="en-US" dirty="0">
              <a:solidFill>
                <a:schemeClr val="bg1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-2" y="6130345"/>
            <a:ext cx="12192002" cy="737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 descr="Image result for canada wordmark">
            <a:hlinkClick r:id="rId7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2888" y="6396331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 descr="GCworkplace-FullColour-FR.png">
            <a:extLst>
              <a:ext uri="{FF2B5EF4-FFF2-40B4-BE49-F238E27FC236}">
                <a16:creationId xmlns:a16="http://schemas.microsoft.com/office/drawing/2014/main" id="{DE3A470F-1795-2E7C-03F8-1EC249F7AAA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682" y="422911"/>
            <a:ext cx="2906818" cy="567491"/>
          </a:xfrm>
          <a:prstGeom prst="rect">
            <a:avLst/>
          </a:prstGeom>
        </p:spPr>
      </p:pic>
      <p:pic>
        <p:nvPicPr>
          <p:cNvPr id="11" name="Picture 10" descr="goc_fip_2c_f.png">
            <a:extLst>
              <a:ext uri="{FF2B5EF4-FFF2-40B4-BE49-F238E27FC236}">
                <a16:creationId xmlns:a16="http://schemas.microsoft.com/office/drawing/2014/main" id="{C1E43B71-3699-E07A-8655-39BAF6E03A06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023" y="6396331"/>
            <a:ext cx="2294641" cy="217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6606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762</TotalTime>
  <Words>16</Words>
  <Application>Microsoft Office PowerPoint</Application>
  <PresentationFormat>Widescreen</PresentationFormat>
  <Paragraphs>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Arial Rounded MT Bold</vt:lpstr>
      <vt:lpstr>Calibri</vt:lpstr>
      <vt:lpstr>Calibri Light</vt:lpstr>
      <vt:lpstr>Georgia</vt:lpstr>
      <vt:lpstr>Office Theme</vt:lpstr>
      <vt:lpstr>think-cell Slide</vt:lpstr>
      <vt:lpstr>Séance de Q&amp;R de préouverture – À VENI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bert Tu</dc:creator>
  <cp:lastModifiedBy>Genereux, Sophie (SPAC/PSPC) (elle-la / she-her)</cp:lastModifiedBy>
  <cp:revision>339</cp:revision>
  <dcterms:created xsi:type="dcterms:W3CDTF">2018-01-23T15:59:12Z</dcterms:created>
  <dcterms:modified xsi:type="dcterms:W3CDTF">2023-02-24T18:20:37Z</dcterms:modified>
</cp:coreProperties>
</file>